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F6F6F6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6:21.059" v="74" actId="2791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6:21.059" v="74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B8504EE1-9138-4BED-B426-2E7A13487A9B}"/>
    <pc:docChg chg="modSld">
      <pc:chgData name="Weigel Stefan (PAR-EPS)" userId="fd3b2067-2981-4ad8-bf3a-d2e1004e4fa8" providerId="ADAL" clId="{B8504EE1-9138-4BED-B426-2E7A13487A9B}" dt="2024-04-24T15:18:49.400" v="19" actId="20577"/>
      <pc:docMkLst>
        <pc:docMk/>
      </pc:docMkLst>
      <pc:sldChg chg="modSp mod">
        <pc:chgData name="Weigel Stefan (PAR-EPS)" userId="fd3b2067-2981-4ad8-bf3a-d2e1004e4fa8" providerId="ADAL" clId="{B8504EE1-9138-4BED-B426-2E7A13487A9B}" dt="2024-04-24T15:18:49.400" v="19" actId="20577"/>
        <pc:sldMkLst>
          <pc:docMk/>
          <pc:sldMk cId="3158517815" sldId="412"/>
        </pc:sldMkLst>
        <pc:spChg chg="mod">
          <ac:chgData name="Weigel Stefan (PAR-EPS)" userId="fd3b2067-2981-4ad8-bf3a-d2e1004e4fa8" providerId="ADAL" clId="{B8504EE1-9138-4BED-B426-2E7A13487A9B}" dt="2024-04-24T15:18:49.400" v="19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8504EE1-9138-4BED-B426-2E7A13487A9B}" dt="2024-04-24T15:14:47.137" v="3" actId="554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B8504EE1-9138-4BED-B426-2E7A13487A9B}" dt="2024-04-24T15:14:47.137" v="3" actId="554"/>
          <ac:spMkLst>
            <pc:docMk/>
            <pc:sldMk cId="3158517815" sldId="412"/>
            <ac:spMk id="7" creationId="{A268B3EA-5C95-4C29-811B-3808A456157E}"/>
          </ac:spMkLst>
        </pc:spChg>
        <pc:graphicFrameChg chg="mod">
          <ac:chgData name="Weigel Stefan (PAR-EPS)" userId="fd3b2067-2981-4ad8-bf3a-d2e1004e4fa8" providerId="ADAL" clId="{B8504EE1-9138-4BED-B426-2E7A13487A9B}" dt="2024-04-24T15:16:10.649" v="13" actId="207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E0CA759C-7CEA-4295-B2C2-826ACA8C7B10}"/>
    <pc:docChg chg="modSld">
      <pc:chgData name="Weigel Stefan (PAR-EPS)" userId="fd3b2067-2981-4ad8-bf3a-d2e1004e4fa8" providerId="ADAL" clId="{E0CA759C-7CEA-4295-B2C2-826ACA8C7B10}" dt="2025-02-14T18:12:48.921" v="4" actId="27918"/>
      <pc:docMkLst>
        <pc:docMk/>
      </pc:docMkLst>
      <pc:sldChg chg="mod">
        <pc:chgData name="Weigel Stefan (PAR-EPS)" userId="fd3b2067-2981-4ad8-bf3a-d2e1004e4fa8" providerId="ADAL" clId="{E0CA759C-7CEA-4295-B2C2-826ACA8C7B10}" dt="2025-02-14T18:12:48.921" v="4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otthard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6587-434A-9D2B-F00BA22D0ED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8.405615000000001</c:v>
                </c:pt>
                <c:pt idx="1">
                  <c:v>17.842801000000001</c:v>
                </c:pt>
                <c:pt idx="2">
                  <c:v>16.624806</c:v>
                </c:pt>
                <c:pt idx="3">
                  <c:v>14.843216999999999</c:v>
                </c:pt>
                <c:pt idx="4">
                  <c:v>16.882899999999999</c:v>
                </c:pt>
                <c:pt idx="5">
                  <c:v>17.179015</c:v>
                </c:pt>
                <c:pt idx="6">
                  <c:v>17.63063</c:v>
                </c:pt>
                <c:pt idx="7">
                  <c:v>20.640112999999999</c:v>
                </c:pt>
                <c:pt idx="8">
                  <c:v>22.394874000000002</c:v>
                </c:pt>
                <c:pt idx="9">
                  <c:v>20.828085999999999</c:v>
                </c:pt>
                <c:pt idx="10">
                  <c:v>20.60715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6587-434A-9D2B-F00BA22D0EDE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915381999999999</c:v>
                </c:pt>
                <c:pt idx="1">
                  <c:v>15.303774000000001</c:v>
                </c:pt>
                <c:pt idx="2">
                  <c:v>16.884143000000002</c:v>
                </c:pt>
                <c:pt idx="3">
                  <c:v>17.496600999999998</c:v>
                </c:pt>
                <c:pt idx="4">
                  <c:v>16.113721000000002</c:v>
                </c:pt>
                <c:pt idx="5">
                  <c:v>14.807741999999999</c:v>
                </c:pt>
                <c:pt idx="6">
                  <c:v>12.384786999999999</c:v>
                </c:pt>
                <c:pt idx="7">
                  <c:v>13.208899000000001</c:v>
                </c:pt>
                <c:pt idx="8">
                  <c:v>10.993043999999999</c:v>
                </c:pt>
                <c:pt idx="9">
                  <c:v>10.898840999999999</c:v>
                </c:pt>
                <c:pt idx="10">
                  <c:v>10.427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0791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51192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Mio. </a:t>
          </a:r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Nt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lpenquerender Güterverkehr auf der Schien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08534993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erkehrsaufkommen in Nettotonnen aller Eisenbahnverkehrsunternehmen auf der Infrastruktur SBB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9795AD-3A3D-4FF1-A578-51C118E5C5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lpenquerender Güterverkehr auf der Schien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penquerender Güterverkehr auf der Schiene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5-02-24T13:0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